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3"/>
  </p:notesMasterIdLst>
  <p:handoutMasterIdLst>
    <p:handoutMasterId r:id="rId4"/>
  </p:handoutMasterIdLst>
  <p:sldIdLst>
    <p:sldId id="871" r:id="rId2"/>
  </p:sldIdLst>
  <p:sldSz cx="12192000" cy="6858000"/>
  <p:notesSz cx="6797675" cy="9928225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8A5433-BE0B-4B98-AC30-FE16D526B308}" name="Ruth Strohmaier" initials="RS" userId="S::strohmaier@factsnfigures.onmicrosoft.com::7b0b99c5-1314-4646-b4d8-d807463e6e0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zenauer Winnie" initials="MW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AE"/>
    <a:srgbClr val="0092C7"/>
    <a:srgbClr val="00A4AE"/>
    <a:srgbClr val="E1E000"/>
    <a:srgbClr val="E6E8F4"/>
    <a:srgbClr val="8595C5"/>
    <a:srgbClr val="1A7C0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6" autoAdjust="0"/>
    <p:restoredTop sz="96192" autoAdjust="0"/>
  </p:normalViewPr>
  <p:slideViewPr>
    <p:cSldViewPr snapToGrid="0" snapToObjects="1" showGuides="1">
      <p:cViewPr varScale="1">
        <p:scale>
          <a:sx n="71" d="100"/>
          <a:sy n="71" d="100"/>
        </p:scale>
        <p:origin x="78" y="5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2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3114" y="5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27DB28-E196-484D-8643-90F5FC3016CC}" type="datetimeFigureOut">
              <a:rPr lang="de-DE" smtClean="0"/>
              <a:t>24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48908A-37D4-439D-959D-A91E49FB018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11336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C72149-50DC-414A-BE09-8FB8452C732B}" type="datetimeFigureOut">
              <a:rPr lang="de-AT" smtClean="0"/>
              <a:t>24.11.2022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FEE96D-53AE-482B-8B3A-8882549DA2CE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70279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38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40.xml"/><Relationship Id="rId7" Type="http://schemas.openxmlformats.org/officeDocument/2006/relationships/image" Target="../media/image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42.xml"/><Relationship Id="rId7" Type="http://schemas.openxmlformats.org/officeDocument/2006/relationships/image" Target="../media/image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19833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>
            <a:extLst>
              <a:ext uri="{FF2B5EF4-FFF2-40B4-BE49-F238E27FC236}">
                <a16:creationId xmlns:a16="http://schemas.microsoft.com/office/drawing/2014/main" id="{9AD1D97A-3D5C-4EAA-B0B9-D44F4667D4F5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4650" y="2409247"/>
            <a:ext cx="4576803" cy="600164"/>
          </a:xfrm>
        </p:spPr>
        <p:txBody>
          <a:bodyPr lIns="0" tIns="0" rIns="0" bIns="0"/>
          <a:lstStyle>
            <a:lvl1pPr algn="r">
              <a:defRPr sz="13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  <a:br>
              <a:rPr lang="de-DE" dirty="0"/>
            </a:br>
            <a:r>
              <a:rPr lang="de-DE" dirty="0"/>
              <a:t>Ort</a:t>
            </a:r>
            <a:br>
              <a:rPr lang="de-DE" dirty="0"/>
            </a:br>
            <a:r>
              <a:rPr lang="de-DE" dirty="0"/>
              <a:t>TT. Monat JJJJ</a:t>
            </a:r>
            <a:endParaRPr lang="de-AT" dirty="0"/>
          </a:p>
        </p:txBody>
      </p:sp>
      <p:sp>
        <p:nvSpPr>
          <p:cNvPr id="12" name="Grafik 46">
            <a:extLst>
              <a:ext uri="{FF2B5EF4-FFF2-40B4-BE49-F238E27FC236}">
                <a16:creationId xmlns:a16="http://schemas.microsoft.com/office/drawing/2014/main" id="{D03A7A3C-5598-4595-BC1C-E2B4FF7951A7}"/>
              </a:ext>
            </a:extLst>
          </p:cNvPr>
          <p:cNvSpPr>
            <a:spLocks noChangeAspect="1"/>
          </p:cNvSpPr>
          <p:nvPr userDrawn="1"/>
        </p:nvSpPr>
        <p:spPr>
          <a:xfrm>
            <a:off x="5131453" y="2450298"/>
            <a:ext cx="1929095" cy="1957404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53AAB4E-7316-4F2B-B201-F6B872EDAF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6982" y="6276307"/>
            <a:ext cx="1038599" cy="212725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32F64A1-F14B-9A75-06C0-B56ECE86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5D371C7-1253-89A9-9FF4-086F3CECA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00311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6339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005F210-7A92-0EAE-7BDF-CF352B7B8E60}"/>
              </a:ext>
            </a:extLst>
          </p:cNvPr>
          <p:cNvSpPr/>
          <p:nvPr userDrawn="1"/>
        </p:nvSpPr>
        <p:spPr bwMode="auto">
          <a:xfrm>
            <a:off x="6188448" y="188913"/>
            <a:ext cx="5811465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814" y="31475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27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 userDrawn="1">
          <p15:clr>
            <a:srgbClr val="FBAE40"/>
          </p15:clr>
        </p15:guide>
        <p15:guide id="4" orient="horz" pos="1011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401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 Spalten für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6339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005F210-7A92-0EAE-7BDF-CF352B7B8E60}"/>
              </a:ext>
            </a:extLst>
          </p:cNvPr>
          <p:cNvSpPr/>
          <p:nvPr userDrawn="1"/>
        </p:nvSpPr>
        <p:spPr bwMode="auto">
          <a:xfrm>
            <a:off x="6188448" y="188913"/>
            <a:ext cx="5811465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5450732" cy="143411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814" y="1608111"/>
            <a:ext cx="5450732" cy="143411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35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 userDrawn="1">
          <p15:clr>
            <a:srgbClr val="FBAE40"/>
          </p15:clr>
        </p15:guide>
        <p15:guide id="4" orient="horz" pos="1011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401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Grafik + 2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912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8A2E83B0-7CAD-8C8D-3483-9908D8EFABBD}"/>
              </a:ext>
            </a:extLst>
          </p:cNvPr>
          <p:cNvSpPr/>
          <p:nvPr userDrawn="1"/>
        </p:nvSpPr>
        <p:spPr bwMode="auto">
          <a:xfrm>
            <a:off x="6188448" y="3518974"/>
            <a:ext cx="5811465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AD06273-3F5C-5FB8-1988-174CC385D1BC}"/>
              </a:ext>
            </a:extLst>
          </p:cNvPr>
          <p:cNvSpPr/>
          <p:nvPr userDrawn="1"/>
        </p:nvSpPr>
        <p:spPr bwMode="auto">
          <a:xfrm>
            <a:off x="6188448" y="188913"/>
            <a:ext cx="5811465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814" y="31475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7C56B3D2-09EA-0EA4-E1EF-2EAAAE2C65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8814" y="3637547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Inhaltsplatzhalter 3">
            <a:extLst>
              <a:ext uri="{FF2B5EF4-FFF2-40B4-BE49-F238E27FC236}">
                <a16:creationId xmlns:a16="http://schemas.microsoft.com/office/drawing/2014/main" id="{CE9EB023-4013-5373-CC0D-795C44C5F13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76982" y="1608109"/>
            <a:ext cx="5451467" cy="4484715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74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3897" userDrawn="1">
          <p15:clr>
            <a:srgbClr val="FBAE40"/>
          </p15:clr>
        </p15:guide>
        <p15:guide id="6" pos="401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4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9759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7FCB988-F35A-6E17-7955-6DB663832DDF}"/>
              </a:ext>
            </a:extLst>
          </p:cNvPr>
          <p:cNvSpPr/>
          <p:nvPr userDrawn="1"/>
        </p:nvSpPr>
        <p:spPr bwMode="auto">
          <a:xfrm>
            <a:off x="6191381" y="4170247"/>
            <a:ext cx="58085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937F9BA-F1A2-0FCB-CBA0-C9A8E95CFE5A}"/>
              </a:ext>
            </a:extLst>
          </p:cNvPr>
          <p:cNvSpPr/>
          <p:nvPr userDrawn="1"/>
        </p:nvSpPr>
        <p:spPr bwMode="auto">
          <a:xfrm>
            <a:off x="6191381" y="1491461"/>
            <a:ext cx="58085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94E603B-7B78-D666-6E6A-38D5384D8A54}"/>
              </a:ext>
            </a:extLst>
          </p:cNvPr>
          <p:cNvSpPr/>
          <p:nvPr userDrawn="1"/>
        </p:nvSpPr>
        <p:spPr bwMode="auto">
          <a:xfrm>
            <a:off x="196982" y="4170247"/>
            <a:ext cx="58085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196982" y="1491461"/>
            <a:ext cx="58085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B3F635D-E72A-6C61-FB65-A7D19AB20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EFE0D8-18B0-0964-6835-CBC81235C70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369058" y="1608110"/>
            <a:ext cx="5451467" cy="2202134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608A4037-0175-1821-BB58-FC202192371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69058" y="4286894"/>
            <a:ext cx="5451467" cy="1805931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0695B15E-E64C-118B-15B8-C76133C509E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76982" y="1608110"/>
            <a:ext cx="5451467" cy="2202134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BE05A3C-04D3-2D52-987E-A73311FC48C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376982" y="4286894"/>
            <a:ext cx="5451467" cy="1805931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454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3896">
          <p15:clr>
            <a:srgbClr val="FBAE40"/>
          </p15:clr>
        </p15:guide>
        <p15:guide id="6" pos="4010">
          <p15:clr>
            <a:srgbClr val="FBAE40"/>
          </p15:clr>
        </p15:guide>
        <p15:guide id="9" orient="horz" pos="2699">
          <p15:clr>
            <a:srgbClr val="FBAE40"/>
          </p15:clr>
        </p15:guide>
        <p15:guide id="10" orient="horz" pos="2735">
          <p15:clr>
            <a:srgbClr val="FBAE40"/>
          </p15:clr>
        </p15:guide>
        <p15:guide id="11" orient="horz" pos="24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1/3 u 2/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7412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24065B64-5D2D-D956-BD5E-A294777C4BF7}"/>
              </a:ext>
            </a:extLst>
          </p:cNvPr>
          <p:cNvSpPr/>
          <p:nvPr userDrawn="1"/>
        </p:nvSpPr>
        <p:spPr bwMode="auto">
          <a:xfrm>
            <a:off x="4191292" y="1491461"/>
            <a:ext cx="7808621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196982" y="1491461"/>
            <a:ext cx="3814310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2" y="1608111"/>
            <a:ext cx="3453945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71473" y="1608111"/>
            <a:ext cx="7448257" cy="1434111"/>
          </a:xfrm>
        </p:spPr>
        <p:txBody>
          <a:bodyPr wrap="square"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80045B-3CCD-4E98-B71E-84D986394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358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38">
          <p15:clr>
            <a:srgbClr val="FBAE40"/>
          </p15:clr>
        </p15:guide>
        <p15:guide id="2" pos="2525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2411" userDrawn="1">
          <p15:clr>
            <a:srgbClr val="FBAE40"/>
          </p15:clr>
        </p15:guide>
        <p15:guide id="6" pos="275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/3 u 1/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7412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eck 30">
            <a:extLst>
              <a:ext uri="{FF2B5EF4-FFF2-40B4-BE49-F238E27FC236}">
                <a16:creationId xmlns:a16="http://schemas.microsoft.com/office/drawing/2014/main" id="{24065B64-5D2D-D956-BD5E-A294777C4BF7}"/>
              </a:ext>
            </a:extLst>
          </p:cNvPr>
          <p:cNvSpPr/>
          <p:nvPr userDrawn="1"/>
        </p:nvSpPr>
        <p:spPr bwMode="auto">
          <a:xfrm>
            <a:off x="196982" y="1491461"/>
            <a:ext cx="7808621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8185603" y="1491461"/>
            <a:ext cx="3814310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65603" y="1608111"/>
            <a:ext cx="3453945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6982" y="1608111"/>
            <a:ext cx="7448257" cy="1434111"/>
          </a:xfrm>
        </p:spPr>
        <p:txBody>
          <a:bodyPr wrap="square"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80045B-3CCD-4E98-B71E-84D986394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427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042" userDrawn="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4929" userDrawn="1">
          <p15:clr>
            <a:srgbClr val="FBAE40"/>
          </p15:clr>
        </p15:guide>
        <p15:guide id="6" pos="5269" userDrawn="1">
          <p15:clr>
            <a:srgbClr val="FBAE40"/>
          </p15:clr>
        </p15:guide>
        <p15:guide id="7" pos="515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6974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196982" y="1491461"/>
            <a:ext cx="3814310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005F210-7A92-0EAE-7BDF-CF352B7B8E60}"/>
              </a:ext>
            </a:extLst>
          </p:cNvPr>
          <p:cNvSpPr/>
          <p:nvPr userDrawn="1"/>
        </p:nvSpPr>
        <p:spPr bwMode="auto">
          <a:xfrm>
            <a:off x="8185602" y="1491461"/>
            <a:ext cx="3814311" cy="517757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24065B64-5D2D-D956-BD5E-A294777C4BF7}"/>
              </a:ext>
            </a:extLst>
          </p:cNvPr>
          <p:cNvSpPr/>
          <p:nvPr userDrawn="1"/>
        </p:nvSpPr>
        <p:spPr bwMode="auto">
          <a:xfrm>
            <a:off x="4191292" y="1491461"/>
            <a:ext cx="3814310" cy="517757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2" y="1608111"/>
            <a:ext cx="3453945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71473" y="1608111"/>
            <a:ext cx="3453945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9BC06040-C09C-B333-0498-4737C0E521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65785" y="1608111"/>
            <a:ext cx="3453945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80045B-3CCD-4E98-B71E-84D986394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685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38" userDrawn="1">
          <p15:clr>
            <a:srgbClr val="FBAE40"/>
          </p15:clr>
        </p15:guide>
        <p15:guide id="2" pos="2525" userDrawn="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5042" userDrawn="1">
          <p15:clr>
            <a:srgbClr val="FBAE40"/>
          </p15:clr>
        </p15:guide>
        <p15:guide id="6" pos="515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, Bilder und Text mit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6054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794E603B-7B78-D666-6E6A-38D5384D8A54}"/>
              </a:ext>
            </a:extLst>
          </p:cNvPr>
          <p:cNvSpPr/>
          <p:nvPr userDrawn="1"/>
        </p:nvSpPr>
        <p:spPr bwMode="auto">
          <a:xfrm>
            <a:off x="196982" y="4170247"/>
            <a:ext cx="118029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196982" y="1491461"/>
            <a:ext cx="11802931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2" y="1608111"/>
            <a:ext cx="5451467" cy="2202133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F40EA94F-B69B-20EC-8AD6-190A798051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6981" y="4286894"/>
            <a:ext cx="5451468" cy="1805931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B3F635D-E72A-6C61-FB65-A7D19AB20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EFE0D8-18B0-0964-6835-CBC81235C70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369058" y="1608110"/>
            <a:ext cx="5451467" cy="2202134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608A4037-0175-1821-BB58-FC202192371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69058" y="4286894"/>
            <a:ext cx="5451467" cy="1805931"/>
          </a:xfrm>
        </p:spPr>
        <p:txBody>
          <a:bodyPr>
            <a:no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067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3896">
          <p15:clr>
            <a:srgbClr val="FBAE40"/>
          </p15:clr>
        </p15:guide>
        <p15:guide id="6" pos="4010">
          <p15:clr>
            <a:srgbClr val="FBAE40"/>
          </p15:clr>
        </p15:guide>
        <p15:guide id="9" orient="horz" pos="2699" userDrawn="1">
          <p15:clr>
            <a:srgbClr val="FBAE40"/>
          </p15:clr>
        </p15:guide>
        <p15:guide id="10" orient="horz" pos="2735" userDrawn="1">
          <p15:clr>
            <a:srgbClr val="FBAE40"/>
          </p15:clr>
        </p15:guide>
        <p15:guide id="11" orient="horz" pos="240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3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1972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CD46AF6B-058B-FCD8-92B1-C125D50E6230}"/>
              </a:ext>
            </a:extLst>
          </p:cNvPr>
          <p:cNvSpPr/>
          <p:nvPr userDrawn="1"/>
        </p:nvSpPr>
        <p:spPr bwMode="auto">
          <a:xfrm>
            <a:off x="196982" y="3518974"/>
            <a:ext cx="5811466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AC47121-1E13-FECB-DE03-09FAA6281FF2}"/>
              </a:ext>
            </a:extLst>
          </p:cNvPr>
          <p:cNvSpPr/>
          <p:nvPr userDrawn="1"/>
        </p:nvSpPr>
        <p:spPr bwMode="auto">
          <a:xfrm>
            <a:off x="6188448" y="3518974"/>
            <a:ext cx="5811465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315005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005F210-7A92-0EAE-7BDF-CF352B7B8E60}"/>
              </a:ext>
            </a:extLst>
          </p:cNvPr>
          <p:cNvSpPr/>
          <p:nvPr userDrawn="1"/>
        </p:nvSpPr>
        <p:spPr bwMode="auto">
          <a:xfrm>
            <a:off x="6188448" y="188913"/>
            <a:ext cx="5811465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3637547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AD07444F-D630-E7BC-3C45-CD17AE913B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8814" y="31475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6B7DAEA-4F98-BAF9-8D29-F118F404425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8814" y="3637547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E9C7161B-FCBB-8C9F-7BBD-93792A0CE6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982" y="1955721"/>
            <a:ext cx="5450731" cy="1203278"/>
          </a:xfrm>
        </p:spPr>
        <p:txBody>
          <a:bodyPr lIns="0" tIns="0" rIns="0" bIns="0" anchor="b">
            <a:spAutoFit/>
          </a:bodyPr>
          <a:lstStyle>
            <a:lvl1pPr>
              <a:defRPr sz="1300">
                <a:solidFill>
                  <a:schemeClr val="bg1"/>
                </a:solidFill>
              </a:defRPr>
            </a:lvl1pPr>
            <a:lvl2pPr>
              <a:defRPr sz="1300">
                <a:solidFill>
                  <a:schemeClr val="bg1"/>
                </a:solidFill>
              </a:defRPr>
            </a:lvl2pPr>
            <a:lvl3pPr>
              <a:defRPr sz="1300">
                <a:solidFill>
                  <a:schemeClr val="bg1"/>
                </a:solidFill>
              </a:defRPr>
            </a:lvl3pPr>
            <a:lvl4pPr>
              <a:defRPr sz="1300">
                <a:solidFill>
                  <a:schemeClr val="bg1"/>
                </a:solidFill>
              </a:defRPr>
            </a:lvl4pPr>
            <a:lvl5pPr>
              <a:defRPr sz="13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0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5" orient="horz" pos="2327" userDrawn="1">
          <p15:clr>
            <a:srgbClr val="FBAE40"/>
          </p15:clr>
        </p15:guide>
        <p15:guide id="6" orient="horz" pos="2291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4011" userDrawn="1">
          <p15:clr>
            <a:srgbClr val="FBAE40"/>
          </p15:clr>
        </p15:guide>
        <p15:guide id="9" orient="horz" pos="1967" userDrawn="1">
          <p15:clr>
            <a:srgbClr val="FBAE40"/>
          </p15:clr>
        </p15:guide>
        <p15:guide id="10" orient="horz" pos="1991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254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A7FAF1F5-1576-32BB-490F-E76E200B7FB9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188448" y="188912"/>
            <a:ext cx="5811465" cy="3160714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4219B6D1-9245-6849-EBDD-1F0040CB4AF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188448" y="3518973"/>
            <a:ext cx="5811465" cy="3160714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D46AF6B-058B-FCD8-92B1-C125D50E6230}"/>
              </a:ext>
            </a:extLst>
          </p:cNvPr>
          <p:cNvSpPr/>
          <p:nvPr userDrawn="1"/>
        </p:nvSpPr>
        <p:spPr bwMode="auto">
          <a:xfrm>
            <a:off x="196982" y="3518974"/>
            <a:ext cx="5811466" cy="31500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315005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3637547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E9C7161B-FCBB-8C9F-7BBD-93792A0CE6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982" y="1955721"/>
            <a:ext cx="5450731" cy="1203278"/>
          </a:xfrm>
        </p:spPr>
        <p:txBody>
          <a:bodyPr lIns="0" tIns="0" rIns="0" bIns="0" anchor="b">
            <a:spAutoFit/>
          </a:bodyPr>
          <a:lstStyle>
            <a:lvl1pPr>
              <a:defRPr sz="1300">
                <a:solidFill>
                  <a:schemeClr val="bg1"/>
                </a:solidFill>
              </a:defRPr>
            </a:lvl1pPr>
            <a:lvl2pPr>
              <a:defRPr sz="1300">
                <a:solidFill>
                  <a:schemeClr val="bg1"/>
                </a:solidFill>
              </a:defRPr>
            </a:lvl2pPr>
            <a:lvl3pPr>
              <a:defRPr sz="1300">
                <a:solidFill>
                  <a:schemeClr val="bg1"/>
                </a:solidFill>
              </a:defRPr>
            </a:lvl3pPr>
            <a:lvl4pPr>
              <a:defRPr sz="1300">
                <a:solidFill>
                  <a:schemeClr val="bg1"/>
                </a:solidFill>
              </a:defRPr>
            </a:lvl4pPr>
            <a:lvl5pPr>
              <a:defRPr sz="13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9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5" orient="horz" pos="2327" userDrawn="1">
          <p15:clr>
            <a:srgbClr val="FBAE40"/>
          </p15:clr>
        </p15:guide>
        <p15:guide id="6" orient="horz" pos="2291" userDrawn="1">
          <p15:clr>
            <a:srgbClr val="FBAE40"/>
          </p15:clr>
        </p15:guide>
        <p15:guide id="7" pos="389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716767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D7FFD7FF-A16B-0ABD-6AB3-EC4289DED65A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4650" y="2409247"/>
            <a:ext cx="4576803" cy="600164"/>
          </a:xfrm>
        </p:spPr>
        <p:txBody>
          <a:bodyPr lIns="0" tIns="0" rIns="0" bIns="0"/>
          <a:lstStyle>
            <a:lvl1pPr algn="r"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  <a:br>
              <a:rPr lang="de-DE" dirty="0"/>
            </a:br>
            <a:r>
              <a:rPr lang="de-DE" dirty="0"/>
              <a:t>Ort</a:t>
            </a:r>
            <a:br>
              <a:rPr lang="de-DE" dirty="0"/>
            </a:br>
            <a:r>
              <a:rPr lang="de-DE" dirty="0"/>
              <a:t>TT. Monat JJJJ</a:t>
            </a:r>
            <a:endParaRPr lang="de-AT" dirty="0"/>
          </a:p>
        </p:txBody>
      </p:sp>
      <p:sp>
        <p:nvSpPr>
          <p:cNvPr id="12" name="Grafik 46">
            <a:extLst>
              <a:ext uri="{FF2B5EF4-FFF2-40B4-BE49-F238E27FC236}">
                <a16:creationId xmlns:a16="http://schemas.microsoft.com/office/drawing/2014/main" id="{D03A7A3C-5598-4595-BC1C-E2B4FF7951A7}"/>
              </a:ext>
            </a:extLst>
          </p:cNvPr>
          <p:cNvSpPr>
            <a:spLocks noChangeAspect="1"/>
          </p:cNvSpPr>
          <p:nvPr userDrawn="1"/>
        </p:nvSpPr>
        <p:spPr>
          <a:xfrm>
            <a:off x="5131452" y="2450299"/>
            <a:ext cx="1929095" cy="1957404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53AAB4E-7316-4F2B-B201-F6B872EDAF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6982" y="6274800"/>
            <a:ext cx="1038599" cy="212725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BC1B9DC-ECA5-00E6-7AD0-55BEDF16C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8A15D41-E4A8-DAA9-A193-0A46F9DCB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2371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e +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6054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Bildplatzhalter 6">
            <a:extLst>
              <a:ext uri="{FF2B5EF4-FFF2-40B4-BE49-F238E27FC236}">
                <a16:creationId xmlns:a16="http://schemas.microsoft.com/office/drawing/2014/main" id="{FCB162F7-FBF9-D075-AA8E-72308449753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8448" y="1491461"/>
            <a:ext cx="5811465" cy="2498784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79E9F207-A77B-4ABF-16B5-2220FED1EE6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8448" y="4170247"/>
            <a:ext cx="5811465" cy="2498784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94E603B-7B78-D666-6E6A-38D5384D8A54}"/>
              </a:ext>
            </a:extLst>
          </p:cNvPr>
          <p:cNvSpPr/>
          <p:nvPr userDrawn="1"/>
        </p:nvSpPr>
        <p:spPr bwMode="auto">
          <a:xfrm>
            <a:off x="196982" y="4170247"/>
            <a:ext cx="5811466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84F4FAD-25DC-E22E-2B7A-43B325883A87}"/>
              </a:ext>
            </a:extLst>
          </p:cNvPr>
          <p:cNvSpPr/>
          <p:nvPr userDrawn="1"/>
        </p:nvSpPr>
        <p:spPr bwMode="auto">
          <a:xfrm>
            <a:off x="196982" y="1491461"/>
            <a:ext cx="5811466" cy="24987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1122549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kern="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2" y="1608111"/>
            <a:ext cx="5451467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F40EA94F-B69B-20EC-8AD6-190A798051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6981" y="4286894"/>
            <a:ext cx="5451468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B3F635D-E72A-6C61-FB65-A7D19AB20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489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 userDrawn="1">
          <p15:clr>
            <a:srgbClr val="FBAE40"/>
          </p15:clr>
        </p15:guide>
        <p15:guide id="2" pos="3671" userDrawn="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4010" userDrawn="1">
          <p15:clr>
            <a:srgbClr val="FBAE40"/>
          </p15:clr>
        </p15:guide>
        <p15:guide id="7" orient="horz" pos="2700" userDrawn="1">
          <p15:clr>
            <a:srgbClr val="FBAE40"/>
          </p15:clr>
        </p15:guide>
        <p15:guide id="8" orient="horz" pos="27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2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2312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9B7CADDE-44FF-2CA0-8FD1-46B9814063B0}"/>
              </a:ext>
            </a:extLst>
          </p:cNvPr>
          <p:cNvSpPr/>
          <p:nvPr userDrawn="1"/>
        </p:nvSpPr>
        <p:spPr bwMode="auto">
          <a:xfrm>
            <a:off x="196982" y="188913"/>
            <a:ext cx="5811466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4925D915-333C-BFD9-FC97-EEDAB67FEA0E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188448" y="188913"/>
            <a:ext cx="5811465" cy="6502036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346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3" orient="horz" pos="1049">
          <p15:clr>
            <a:srgbClr val="FBAE40"/>
          </p15:clr>
        </p15:guide>
        <p15:guide id="4" orient="horz" pos="1011">
          <p15:clr>
            <a:srgbClr val="FBAE40"/>
          </p15:clr>
        </p15:guide>
        <p15:guide id="5" pos="3896">
          <p15:clr>
            <a:srgbClr val="FBAE40"/>
          </p15:clr>
        </p15:guide>
        <p15:guide id="6" pos="40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/2 Foto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341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4925D915-333C-BFD9-FC97-EEDAB67FEA0E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96981" y="188913"/>
            <a:ext cx="5811466" cy="6502037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9933C4D-CE62-BB39-DDBA-6C11A02B1C0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78000" y="6285600"/>
            <a:ext cx="197073" cy="19996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B511CC-4698-22BB-E4B8-23A8FB42FB54}"/>
              </a:ext>
            </a:extLst>
          </p:cNvPr>
          <p:cNvSpPr/>
          <p:nvPr userDrawn="1"/>
        </p:nvSpPr>
        <p:spPr bwMode="auto">
          <a:xfrm>
            <a:off x="6188448" y="188913"/>
            <a:ext cx="5811464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5450731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814" y="314751"/>
            <a:ext cx="5450732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562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3">
          <p15:clr>
            <a:srgbClr val="FBAE40"/>
          </p15:clr>
        </p15:guide>
        <p15:guide id="2" pos="3671">
          <p15:clr>
            <a:srgbClr val="FBAE40"/>
          </p15:clr>
        </p15:guide>
        <p15:guide id="5" pos="3896">
          <p15:clr>
            <a:srgbClr val="FBAE40"/>
          </p15:clr>
        </p15:guide>
        <p15:guide id="6" pos="40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9033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4925D915-333C-BFD9-FC97-EEDAB67FEA0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96981" y="188912"/>
            <a:ext cx="7628622" cy="648012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9933C4D-CE62-BB39-DDBA-6C11A02B1C0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78000" y="6285600"/>
            <a:ext cx="197073" cy="19996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B511CC-4698-22BB-E4B8-23A8FB42FB54}"/>
              </a:ext>
            </a:extLst>
          </p:cNvPr>
          <p:cNvSpPr/>
          <p:nvPr userDrawn="1"/>
        </p:nvSpPr>
        <p:spPr bwMode="auto">
          <a:xfrm>
            <a:off x="8005602" y="188913"/>
            <a:ext cx="3994310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1"/>
            <a:ext cx="4884204" cy="123111"/>
          </a:xfrm>
        </p:spPr>
        <p:txBody>
          <a:bodyPr wrap="square" lIns="0" tIns="0" rIns="0" bIns="0" anchor="b">
            <a:spAutoFit/>
          </a:bodyPr>
          <a:lstStyle>
            <a:lvl1pPr>
              <a:defRPr sz="8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20BA803-408C-93A4-DF1E-228636A29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7268621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EB0A3C-895F-DA4D-1187-C0C1CE0661A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B3AF6F-D49A-039C-7849-05E9C3BA36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3C2EE71A-910C-7832-2CB3-696A6B1D74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85602" y="314751"/>
            <a:ext cx="3633944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864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929" userDrawn="1">
          <p15:clr>
            <a:srgbClr val="FBAE40"/>
          </p15:clr>
        </p15:guide>
        <p15:guide id="7" pos="4815" userDrawn="1">
          <p15:clr>
            <a:srgbClr val="FBAE40"/>
          </p15:clr>
        </p15:guide>
        <p15:guide id="8" pos="5042" userDrawn="1">
          <p15:clr>
            <a:srgbClr val="FBAE40"/>
          </p15:clr>
        </p15:guide>
        <p15:guide id="9" pos="515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otos mit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34289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5631466" cy="1280222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 marL="1588" indent="0">
              <a:buNone/>
              <a:defRPr sz="1300"/>
            </a:lvl2pPr>
            <a:lvl3pPr marL="180975" indent="-177800">
              <a:defRPr sz="1300"/>
            </a:lvl3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6F02F060-F99E-DD29-CFF4-4AB0FC4B5B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8447" y="1608111"/>
            <a:ext cx="5630448" cy="1280222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 marL="1588" indent="0">
              <a:buNone/>
              <a:defRPr sz="1300"/>
            </a:lvl2pPr>
            <a:lvl3pPr marL="180975" indent="-177800">
              <a:defRPr sz="1300"/>
            </a:lvl3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Bildplatzhalter 6">
            <a:extLst>
              <a:ext uri="{FF2B5EF4-FFF2-40B4-BE49-F238E27FC236}">
                <a16:creationId xmlns:a16="http://schemas.microsoft.com/office/drawing/2014/main" id="{1136BA35-7EA5-88BD-61AB-01BF199257D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7999" y="2162607"/>
            <a:ext cx="5630448" cy="3426982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7" name="Bildplatzhalter 6">
            <a:extLst>
              <a:ext uri="{FF2B5EF4-FFF2-40B4-BE49-F238E27FC236}">
                <a16:creationId xmlns:a16="http://schemas.microsoft.com/office/drawing/2014/main" id="{68C5C88E-DB39-CE35-084F-9617CDC497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88447" y="2162607"/>
            <a:ext cx="5630448" cy="3426982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B47F82-8D5D-E71B-BF47-2D74A8646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238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  <p15:guide id="3" orient="horz" pos="352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otos mit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9730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2" y="1608111"/>
            <a:ext cx="3694310" cy="1280222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 marL="1588" indent="0">
              <a:buNone/>
              <a:defRPr sz="1300"/>
            </a:lvl2pPr>
            <a:lvl3pPr marL="180975" indent="-177800">
              <a:defRPr sz="1300"/>
            </a:lvl3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39ED20C-8EF2-F903-635F-F4B88B9C2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6F02F060-F99E-DD29-CFF4-4AB0FC4B5B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52310" y="1608111"/>
            <a:ext cx="3693292" cy="1280222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 marL="1588" indent="0">
              <a:buNone/>
              <a:defRPr sz="1300"/>
            </a:lvl2pPr>
            <a:lvl3pPr marL="180975" indent="-177800">
              <a:defRPr sz="1300"/>
            </a:lvl3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CB16D2D8-6108-A88E-C17B-A98D7CC687F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6620" y="1608111"/>
            <a:ext cx="3693292" cy="1280222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 marL="1588" indent="0">
              <a:buNone/>
              <a:defRPr sz="1300"/>
            </a:lvl2pPr>
            <a:lvl3pPr marL="180975" indent="-177800">
              <a:defRPr sz="1300"/>
            </a:lvl3pPr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6" name="Bildplatzhalter 6">
            <a:extLst>
              <a:ext uri="{FF2B5EF4-FFF2-40B4-BE49-F238E27FC236}">
                <a16:creationId xmlns:a16="http://schemas.microsoft.com/office/drawing/2014/main" id="{1136BA35-7EA5-88BD-61AB-01BF199257D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78000" y="2162607"/>
            <a:ext cx="3693292" cy="3426982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7" name="Bildplatzhalter 6">
            <a:extLst>
              <a:ext uri="{FF2B5EF4-FFF2-40B4-BE49-F238E27FC236}">
                <a16:creationId xmlns:a16="http://schemas.microsoft.com/office/drawing/2014/main" id="{68C5C88E-DB39-CE35-084F-9617CDC497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252310" y="2162607"/>
            <a:ext cx="3693292" cy="3426982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8" name="Bildplatzhalter 6">
            <a:extLst>
              <a:ext uri="{FF2B5EF4-FFF2-40B4-BE49-F238E27FC236}">
                <a16:creationId xmlns:a16="http://schemas.microsoft.com/office/drawing/2014/main" id="{D88AE708-D341-4A99-94B3-15660310ADD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26620" y="2162607"/>
            <a:ext cx="3693292" cy="3426982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60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  <p15:guide id="3" orient="horz" pos="3521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6802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39ED20C-8EF2-F903-635F-F4B88B9C2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2" y="300465"/>
            <a:ext cx="9295339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ea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2C7EEBE9-4BE1-9D0B-83C1-88A79B8B46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982" y="3186462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C0476EC0-FA4B-6EF1-08FA-BE7C4C19C3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51292" y="3186462"/>
            <a:ext cx="3694310" cy="600164"/>
          </a:xfrm>
        </p:spPr>
        <p:txBody>
          <a:bodyPr wrap="square"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9E259C86-2E5B-2DF6-ED3E-64B73A3C88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5603" y="3186462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9CF2B528-117D-4F8C-A97E-162CFDF15259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78001" y="1676354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4" name="Bildplatzhalter 6">
            <a:extLst>
              <a:ext uri="{FF2B5EF4-FFF2-40B4-BE49-F238E27FC236}">
                <a16:creationId xmlns:a16="http://schemas.microsoft.com/office/drawing/2014/main" id="{43ED9968-8A08-418D-0454-39B226B9D3AB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51292" y="1676354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5" name="Bildplatzhalter 6">
            <a:extLst>
              <a:ext uri="{FF2B5EF4-FFF2-40B4-BE49-F238E27FC236}">
                <a16:creationId xmlns:a16="http://schemas.microsoft.com/office/drawing/2014/main" id="{675CF2AC-DE7B-31F6-362B-BA6CD8EED5F5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8125603" y="1676354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E84EFED8-91F5-0ECC-3D74-4D1D8AA15B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982" y="5491671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ED2B4B51-E950-0EB1-F818-EC925D90C5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51292" y="5491671"/>
            <a:ext cx="3694310" cy="600164"/>
          </a:xfrm>
        </p:spPr>
        <p:txBody>
          <a:bodyPr wrap="square"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BCD7B99A-8193-4CED-AE0A-F765CA60F3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5603" y="5491671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CD436115-E07A-379D-2A72-422027A0742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378001" y="3981563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0" name="Bildplatzhalter 6">
            <a:extLst>
              <a:ext uri="{FF2B5EF4-FFF2-40B4-BE49-F238E27FC236}">
                <a16:creationId xmlns:a16="http://schemas.microsoft.com/office/drawing/2014/main" id="{3E1188A6-3B66-49DB-D14A-5135231E6BED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251292" y="3981563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08099392-76CA-63D5-7F12-5543EF6643A5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8125603" y="3981563"/>
            <a:ext cx="1546717" cy="1435189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2796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049">
          <p15:clr>
            <a:srgbClr val="FBAE40"/>
          </p15:clr>
        </p15:guide>
        <p15:guide id="3" pos="2683" userDrawn="1">
          <p15:clr>
            <a:srgbClr val="FBAE40"/>
          </p15:clr>
        </p15:guide>
        <p15:guide id="4" pos="2570" userDrawn="1">
          <p15:clr>
            <a:srgbClr val="FBAE40"/>
          </p15:clr>
        </p15:guide>
        <p15:guide id="5" pos="4997" userDrawn="1">
          <p15:clr>
            <a:srgbClr val="FBAE40"/>
          </p15:clr>
        </p15:guide>
        <p15:guide id="6" pos="511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5707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39ED20C-8EF2-F903-635F-F4B88B9C2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3" y="300465"/>
            <a:ext cx="9504759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eam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E84EFED8-91F5-0ECC-3D74-4D1D8AA15B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6982" y="4916574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ED2B4B51-E950-0EB1-F818-EC925D90C5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51292" y="4916574"/>
            <a:ext cx="3694310" cy="600164"/>
          </a:xfrm>
        </p:spPr>
        <p:txBody>
          <a:bodyPr wrap="square"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BCD7B99A-8193-4CED-AE0A-F765CA60F3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5603" y="4916574"/>
            <a:ext cx="3694310" cy="600164"/>
          </a:xfrm>
        </p:spPr>
        <p:txBody>
          <a:bodyPr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</a:lstStyle>
          <a:p>
            <a:pPr lvl="0"/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T +43(0)503 13-XXX XX</a:t>
            </a:r>
            <a:br>
              <a:rPr lang="de-DE" dirty="0"/>
            </a:br>
            <a:r>
              <a:rPr lang="de-DE" dirty="0"/>
              <a:t>Vorname.Nachname@verbund.com</a:t>
            </a:r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CD436115-E07A-379D-2A72-422027A0742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378001" y="3212148"/>
            <a:ext cx="1756137" cy="1629508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0" name="Bildplatzhalter 6">
            <a:extLst>
              <a:ext uri="{FF2B5EF4-FFF2-40B4-BE49-F238E27FC236}">
                <a16:creationId xmlns:a16="http://schemas.microsoft.com/office/drawing/2014/main" id="{3E1188A6-3B66-49DB-D14A-5135231E6BED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251292" y="3212148"/>
            <a:ext cx="1756137" cy="1629508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08099392-76CA-63D5-7F12-5543EF6643A5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8125603" y="3212148"/>
            <a:ext cx="1756137" cy="1629508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4C140DE4-4089-B1A2-FC24-9BBAA0C731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9504759" cy="1434111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81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683">
          <p15:clr>
            <a:srgbClr val="FBAE40"/>
          </p15:clr>
        </p15:guide>
        <p15:guide id="4" pos="2570">
          <p15:clr>
            <a:srgbClr val="FBAE40"/>
          </p15:clr>
        </p15:guide>
        <p15:guide id="5" pos="4997">
          <p15:clr>
            <a:srgbClr val="FBAE40"/>
          </p15:clr>
        </p15:guide>
        <p15:guide id="6" pos="5110">
          <p15:clr>
            <a:srgbClr val="FBAE40"/>
          </p15:clr>
        </p15:guide>
        <p15:guide id="7" orient="horz" pos="1049" userDrawn="1">
          <p15:clr>
            <a:srgbClr val="FBAE40"/>
          </p15:clr>
        </p15:guide>
        <p15:guide id="8" orient="horz" pos="101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04083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982" y="4892496"/>
            <a:ext cx="7983728" cy="1200329"/>
          </a:xfrm>
        </p:spPr>
        <p:txBody>
          <a:bodyPr anchor="b">
            <a:sp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5pPr>
              <a:defRPr/>
            </a:lvl5pPr>
            <a:lvl6pPr marL="180975" indent="0">
              <a:buNone/>
              <a:defRPr/>
            </a:lvl6pPr>
          </a:lstStyle>
          <a:p>
            <a:pPr lvl="0"/>
            <a:r>
              <a:rPr lang="de-DE" dirty="0"/>
              <a:t>VERBUND AG</a:t>
            </a:r>
            <a:br>
              <a:rPr lang="de-DE" dirty="0"/>
            </a:br>
            <a:r>
              <a:rPr lang="de-DE" dirty="0"/>
              <a:t>Am Hof 6a, A-1010 Wien</a:t>
            </a:r>
            <a:br>
              <a:rPr lang="de-DE" dirty="0"/>
            </a:br>
            <a:r>
              <a:rPr lang="de-DE" dirty="0"/>
              <a:t>T: +43(0)50313-0</a:t>
            </a:r>
            <a:br>
              <a:rPr lang="de-DE" dirty="0"/>
            </a:br>
            <a:r>
              <a:rPr lang="de-DE" dirty="0"/>
              <a:t>F: +43(0)50313-54191</a:t>
            </a:r>
            <a:r>
              <a:rPr lang="de-DE"/>
              <a:t/>
            </a:r>
            <a:br>
              <a:rPr lang="de-DE"/>
            </a:br>
            <a:r>
              <a:rPr lang="de-DE" smtClean="0"/>
              <a:t>E-Mail</a:t>
            </a:r>
            <a:r>
              <a:rPr lang="de-DE" dirty="0"/>
              <a:t>: info@verbund.com</a:t>
            </a:r>
            <a:br>
              <a:rPr lang="de-DE" dirty="0"/>
            </a:br>
            <a:r>
              <a:rPr lang="de-DE" dirty="0"/>
              <a:t>Website: www.verbund.co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39ED20C-8EF2-F903-635F-F4B88B9C2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2" y="300465"/>
            <a:ext cx="7983728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776663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63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252DA38F-1A8E-4D40-AECF-BCEAA3DEBF5A}"/>
              </a:ext>
            </a:extLst>
          </p:cNvPr>
          <p:cNvSpPr/>
          <p:nvPr userDrawn="1"/>
        </p:nvSpPr>
        <p:spPr bwMode="auto">
          <a:xfrm>
            <a:off x="197400" y="188913"/>
            <a:ext cx="11797200" cy="64801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12" name="Grafik 46">
            <a:extLst>
              <a:ext uri="{FF2B5EF4-FFF2-40B4-BE49-F238E27FC236}">
                <a16:creationId xmlns:a16="http://schemas.microsoft.com/office/drawing/2014/main" id="{D03A7A3C-5598-4595-BC1C-E2B4FF7951A7}"/>
              </a:ext>
            </a:extLst>
          </p:cNvPr>
          <p:cNvSpPr>
            <a:spLocks noChangeAspect="1"/>
          </p:cNvSpPr>
          <p:nvPr userDrawn="1"/>
        </p:nvSpPr>
        <p:spPr>
          <a:xfrm>
            <a:off x="5131453" y="2450298"/>
            <a:ext cx="1929095" cy="1957404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itel 12">
            <a:extLst>
              <a:ext uri="{FF2B5EF4-FFF2-40B4-BE49-F238E27FC236}">
                <a16:creationId xmlns:a16="http://schemas.microsoft.com/office/drawing/2014/main" id="{A54B1FFB-86F2-47DC-BB83-3E513C8791D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7060548" y="2357768"/>
            <a:ext cx="2175893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8000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de-DE" kern="0" dirty="0"/>
              <a:t>Vielen Dank!</a:t>
            </a:r>
            <a:endParaRPr lang="en-US" kern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FA2BB27-4F68-19B7-655D-F6F48076ED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6982" y="6274800"/>
            <a:ext cx="1038599" cy="21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637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69724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0112F1E6-4019-46DF-8875-641EC151FE3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97400" y="188913"/>
            <a:ext cx="11797200" cy="6480175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0DD0F9B-2A10-4506-92DB-AB3871E016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31452" y="2450298"/>
            <a:ext cx="1929095" cy="1957404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4650" y="2409247"/>
            <a:ext cx="4576803" cy="600164"/>
          </a:xfrm>
        </p:spPr>
        <p:txBody>
          <a:bodyPr lIns="0" tIns="0" rIns="0" bIns="0"/>
          <a:lstStyle>
            <a:lvl1pPr algn="r"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  <a:br>
              <a:rPr lang="de-DE" dirty="0"/>
            </a:br>
            <a:r>
              <a:rPr lang="de-DE" dirty="0"/>
              <a:t>Ort</a:t>
            </a:r>
            <a:br>
              <a:rPr lang="de-DE" dirty="0"/>
            </a:br>
            <a:r>
              <a:rPr lang="de-DE" dirty="0"/>
              <a:t>TT. Monat JJJJ</a:t>
            </a:r>
            <a:endParaRPr lang="de-AT" dirty="0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918F6376-DD3C-4B57-8110-882BAD8F9A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000" y="6282000"/>
            <a:ext cx="1038599" cy="212725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6F7EA81-A468-D006-7DA2-721D67196E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3772D27-C60C-4205-B92E-61CCD4B69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2581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hlussfolie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63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252DA38F-1A8E-4D40-AECF-BCEAA3DEBF5A}"/>
              </a:ext>
            </a:extLst>
          </p:cNvPr>
          <p:cNvSpPr/>
          <p:nvPr userDrawn="1"/>
        </p:nvSpPr>
        <p:spPr bwMode="auto">
          <a:xfrm>
            <a:off x="197400" y="188913"/>
            <a:ext cx="11797200" cy="64801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12" name="Grafik 46">
            <a:extLst>
              <a:ext uri="{FF2B5EF4-FFF2-40B4-BE49-F238E27FC236}">
                <a16:creationId xmlns:a16="http://schemas.microsoft.com/office/drawing/2014/main" id="{D03A7A3C-5598-4595-BC1C-E2B4FF7951A7}"/>
              </a:ext>
            </a:extLst>
          </p:cNvPr>
          <p:cNvSpPr>
            <a:spLocks noChangeAspect="1"/>
          </p:cNvSpPr>
          <p:nvPr userDrawn="1"/>
        </p:nvSpPr>
        <p:spPr>
          <a:xfrm>
            <a:off x="5131453" y="2450298"/>
            <a:ext cx="1929095" cy="1957404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itel 12">
            <a:extLst>
              <a:ext uri="{FF2B5EF4-FFF2-40B4-BE49-F238E27FC236}">
                <a16:creationId xmlns:a16="http://schemas.microsoft.com/office/drawing/2014/main" id="{A54B1FFB-86F2-47DC-BB83-3E513C8791D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7060548" y="2357768"/>
            <a:ext cx="184727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8000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de-DE" kern="0" dirty="0"/>
              <a:t>Die Kraft</a:t>
            </a:r>
            <a:br>
              <a:rPr lang="de-DE" kern="0" dirty="0"/>
            </a:br>
            <a:r>
              <a:rPr lang="de-DE" kern="0" dirty="0"/>
              <a:t>der Wende</a:t>
            </a:r>
            <a:endParaRPr lang="en-US" kern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C127DD7-2272-5535-A5EB-A2756A188C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6982" y="6274800"/>
            <a:ext cx="1038599" cy="21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204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5953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0112F1E6-4019-46DF-8875-641EC151FE3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97400" y="188913"/>
            <a:ext cx="11797200" cy="6480175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0DD0F9B-2A10-4506-92DB-AB3871E0163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31453" y="2450298"/>
            <a:ext cx="1929095" cy="1957404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ts val="346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Georgia"/>
              <a:ea typeface="MS PGothic"/>
              <a:cs typeface="+mj-cs"/>
              <a:sym typeface="Georgia"/>
            </a:endParaRP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87B538EB-D2E2-3646-A0AB-24FE8C5FA9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000" y="6282000"/>
            <a:ext cx="1038599" cy="212725"/>
          </a:xfrm>
          <a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0C7DB4F-7FB8-1149-92DC-A39D91FDCF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2" y="300465"/>
            <a:ext cx="798372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177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5511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981" y="1608111"/>
            <a:ext cx="9662369" cy="1107996"/>
          </a:xfrm>
        </p:spPr>
        <p:txBody>
          <a:bodyPr>
            <a:spAutoFit/>
          </a:bodyPr>
          <a:lstStyle>
            <a:lvl1pPr marL="182563" indent="-182563">
              <a:buFont typeface="Calibri" panose="020F0502020204030204" pitchFamily="34" charset="0"/>
              <a:buChar char="‒"/>
              <a:defRPr/>
            </a:lvl1pPr>
            <a:lvl2pPr marL="355600" indent="-177800">
              <a:defRPr/>
            </a:lvl2pPr>
            <a:lvl3pPr marL="538163" indent="-177800">
              <a:defRPr/>
            </a:lvl3pPr>
            <a:lvl4pPr marL="182563" indent="-176213">
              <a:buFont typeface="Calibri" panose="020F0502020204030204" pitchFamily="34" charset="0"/>
              <a:buChar char="‒"/>
              <a:defRPr/>
            </a:lvl4pPr>
            <a:lvl5pPr marL="355600" indent="-177800">
              <a:defRPr/>
            </a:lvl5pPr>
            <a:lvl6pPr marL="538163" indent="-180975">
              <a:defRPr/>
            </a:lvl6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3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4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D6526-4100-82F5-3ECF-41D57D8C5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547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0872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6">
            <a:extLst>
              <a:ext uri="{FF2B5EF4-FFF2-40B4-BE49-F238E27FC236}">
                <a16:creationId xmlns:a16="http://schemas.microsoft.com/office/drawing/2014/main" id="{3F69997E-FA28-0617-3862-619A3B6AEF64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188448" y="188913"/>
            <a:ext cx="5811465" cy="6502036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5CEBF5-631E-BA7F-CF6D-7C1A1DC17354}"/>
              </a:ext>
            </a:extLst>
          </p:cNvPr>
          <p:cNvSpPr/>
          <p:nvPr userDrawn="1"/>
        </p:nvSpPr>
        <p:spPr bwMode="auto">
          <a:xfrm>
            <a:off x="196982" y="188913"/>
            <a:ext cx="5811466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981" y="1608111"/>
            <a:ext cx="5447557" cy="1107996"/>
          </a:xfrm>
        </p:spPr>
        <p:txBody>
          <a:bodyPr wrap="square">
            <a:spAutoFit/>
          </a:bodyPr>
          <a:lstStyle>
            <a:lvl1pPr marL="182563" indent="-182563">
              <a:buFont typeface="Calibri" panose="020F0502020204030204" pitchFamily="34" charset="0"/>
              <a:buChar char="‒"/>
              <a:defRPr/>
            </a:lvl1pPr>
            <a:lvl2pPr marL="355600" indent="-177800">
              <a:defRPr/>
            </a:lvl2pPr>
            <a:lvl3pPr marL="538163" indent="-177800">
              <a:defRPr/>
            </a:lvl3pPr>
            <a:lvl4pPr marL="182563" indent="-176213">
              <a:buFont typeface="Calibri" panose="020F0502020204030204" pitchFamily="34" charset="0"/>
              <a:buChar char="‒"/>
              <a:defRPr/>
            </a:lvl4pPr>
            <a:lvl5pPr marL="355600" indent="-177800">
              <a:defRPr/>
            </a:lvl5pPr>
            <a:lvl6pPr marL="538163" indent="-180975">
              <a:defRPr/>
            </a:lvl6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3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4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D6526-4100-82F5-3ECF-41D57D8C5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982" y="300465"/>
            <a:ext cx="5447556" cy="4154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080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  <p15:guide id="3" pos="3897" userDrawn="1">
          <p15:clr>
            <a:srgbClr val="FBAE40"/>
          </p15:clr>
        </p15:guide>
        <p15:guide id="4" pos="3783" userDrawn="1">
          <p15:clr>
            <a:srgbClr val="FBAE40"/>
          </p15:clr>
        </p15:guide>
        <p15:guide id="5" pos="366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2998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08EDDFCF-D9DE-4676-A7A1-B9FDC0C661DE}"/>
              </a:ext>
            </a:extLst>
          </p:cNvPr>
          <p:cNvSpPr/>
          <p:nvPr userDrawn="1"/>
        </p:nvSpPr>
        <p:spPr bwMode="auto">
          <a:xfrm>
            <a:off x="196983" y="188913"/>
            <a:ext cx="11802931" cy="648012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80000" tIns="108000" rIns="180000" bIns="180000" numCol="1" anchor="t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00" dirty="0" err="1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6705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49C7A1-E2C4-0D92-5CBD-52EB3A3F89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5C12E95-3571-9FF3-7743-5B1939D02A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2E9F791-1400-CDC6-92E1-CE3015C87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813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8414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3B214DDF-24D1-3A32-813D-04ABA80C0477}"/>
              </a:ext>
            </a:extLst>
          </p:cNvPr>
          <p:cNvSpPr/>
          <p:nvPr userDrawn="1"/>
        </p:nvSpPr>
        <p:spPr bwMode="auto">
          <a:xfrm>
            <a:off x="196982" y="188913"/>
            <a:ext cx="11802931" cy="648011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9662369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6DEB9-A9AA-31D9-5ED6-A8D6C958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131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 userDrawn="1">
          <p15:clr>
            <a:srgbClr val="FBAE40"/>
          </p15:clr>
        </p15:guide>
        <p15:guide id="2" orient="horz" pos="104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8414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9662369" cy="1740149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6DEB9-A9AA-31D9-5ED6-A8D6C958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756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 userDrawn="1">
          <p15:clr>
            <a:srgbClr val="FBAE40"/>
          </p15:clr>
        </p15:guide>
        <p15:guide id="2" orient="horz" pos="104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,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67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01B7011D-100D-E08B-4792-6E52E7F4061A}"/>
              </a:ext>
            </a:extLst>
          </p:cNvPr>
          <p:cNvSpPr/>
          <p:nvPr userDrawn="1"/>
        </p:nvSpPr>
        <p:spPr bwMode="auto">
          <a:xfrm>
            <a:off x="197400" y="188913"/>
            <a:ext cx="11797200" cy="64801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43509" y="6387350"/>
            <a:ext cx="6371690" cy="123111"/>
          </a:xfrm>
        </p:spPr>
        <p:txBody>
          <a:bodyPr lIns="0" tIns="0" rIns="0" bIns="0" anchor="b">
            <a:spAutoFit/>
          </a:bodyPr>
          <a:lstStyle>
            <a:lvl1pPr>
              <a:defRPr sz="8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Hier steht eine Fußnote in 8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  <a:endParaRPr lang="de-AT" dirty="0"/>
          </a:p>
        </p:txBody>
      </p:sp>
      <p:sp>
        <p:nvSpPr>
          <p:cNvPr id="13" name="Grafik 46">
            <a:extLst>
              <a:ext uri="{FF2B5EF4-FFF2-40B4-BE49-F238E27FC236}">
                <a16:creationId xmlns:a16="http://schemas.microsoft.com/office/drawing/2014/main" id="{FA0263EB-5510-492D-8CF3-1CC26D218ECE}"/>
              </a:ext>
            </a:extLst>
          </p:cNvPr>
          <p:cNvSpPr>
            <a:spLocks noChangeAspect="1"/>
          </p:cNvSpPr>
          <p:nvPr userDrawn="1"/>
        </p:nvSpPr>
        <p:spPr>
          <a:xfrm>
            <a:off x="378000" y="6285600"/>
            <a:ext cx="197073" cy="199965"/>
          </a:xfrm>
          <a:custGeom>
            <a:avLst/>
            <a:gdLst>
              <a:gd name="connsiteX0" fmla="*/ 1001363 w 1596580"/>
              <a:gd name="connsiteY0" fmla="*/ 1620012 h 1620012"/>
              <a:gd name="connsiteX1" fmla="*/ 1022128 w 1596580"/>
              <a:gd name="connsiteY1" fmla="*/ 1564767 h 1620012"/>
              <a:gd name="connsiteX2" fmla="*/ 1306354 w 1596580"/>
              <a:gd name="connsiteY2" fmla="*/ 832771 h 1620012"/>
              <a:gd name="connsiteX3" fmla="*/ 1573054 w 1596580"/>
              <a:gd name="connsiteY3" fmla="*/ 65913 h 1620012"/>
              <a:gd name="connsiteX4" fmla="*/ 1596581 w 1596580"/>
              <a:gd name="connsiteY4" fmla="*/ 0 h 1620012"/>
              <a:gd name="connsiteX5" fmla="*/ 1221867 w 1596580"/>
              <a:gd name="connsiteY5" fmla="*/ 0 h 1620012"/>
              <a:gd name="connsiteX6" fmla="*/ 891540 w 1596580"/>
              <a:gd name="connsiteY6" fmla="*/ 947642 h 1620012"/>
              <a:gd name="connsiteX7" fmla="*/ 805053 w 1596580"/>
              <a:gd name="connsiteY7" fmla="*/ 1269587 h 1620012"/>
              <a:gd name="connsiteX8" fmla="*/ 790575 w 1596580"/>
              <a:gd name="connsiteY8" fmla="*/ 1269587 h 1620012"/>
              <a:gd name="connsiteX9" fmla="*/ 703898 w 1596580"/>
              <a:gd name="connsiteY9" fmla="*/ 947642 h 1620012"/>
              <a:gd name="connsiteX10" fmla="*/ 374047 w 1596580"/>
              <a:gd name="connsiteY10" fmla="*/ 0 h 1620012"/>
              <a:gd name="connsiteX11" fmla="*/ 0 w 1596580"/>
              <a:gd name="connsiteY11" fmla="*/ 0 h 1620012"/>
              <a:gd name="connsiteX12" fmla="*/ 21622 w 1596580"/>
              <a:gd name="connsiteY12" fmla="*/ 65913 h 1620012"/>
              <a:gd name="connsiteX13" fmla="*/ 289560 w 1596580"/>
              <a:gd name="connsiteY13" fmla="*/ 832771 h 1620012"/>
              <a:gd name="connsiteX14" fmla="*/ 573786 w 1596580"/>
              <a:gd name="connsiteY14" fmla="*/ 1564767 h 1620012"/>
              <a:gd name="connsiteX15" fmla="*/ 594741 w 1596580"/>
              <a:gd name="connsiteY15" fmla="*/ 1620012 h 162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96580" h="1620012">
                <a:moveTo>
                  <a:pt x="1001363" y="1620012"/>
                </a:moveTo>
                <a:lnTo>
                  <a:pt x="1022128" y="1564767"/>
                </a:lnTo>
                <a:cubicBezTo>
                  <a:pt x="1136428" y="1288542"/>
                  <a:pt x="1202531" y="1116330"/>
                  <a:pt x="1306354" y="832771"/>
                </a:cubicBezTo>
                <a:cubicBezTo>
                  <a:pt x="1414367" y="541877"/>
                  <a:pt x="1477804" y="356521"/>
                  <a:pt x="1573054" y="65913"/>
                </a:cubicBezTo>
                <a:lnTo>
                  <a:pt x="1596581" y="0"/>
                </a:lnTo>
                <a:lnTo>
                  <a:pt x="1221867" y="0"/>
                </a:lnTo>
                <a:lnTo>
                  <a:pt x="891540" y="947642"/>
                </a:lnTo>
                <a:cubicBezTo>
                  <a:pt x="839153" y="1103090"/>
                  <a:pt x="834390" y="1120712"/>
                  <a:pt x="805053" y="1269587"/>
                </a:cubicBezTo>
                <a:lnTo>
                  <a:pt x="790575" y="1269587"/>
                </a:lnTo>
                <a:cubicBezTo>
                  <a:pt x="760762" y="1120712"/>
                  <a:pt x="756761" y="1103090"/>
                  <a:pt x="703898" y="947642"/>
                </a:cubicBezTo>
                <a:lnTo>
                  <a:pt x="374047" y="0"/>
                </a:lnTo>
                <a:lnTo>
                  <a:pt x="0" y="0"/>
                </a:lnTo>
                <a:lnTo>
                  <a:pt x="21622" y="65913"/>
                </a:lnTo>
                <a:cubicBezTo>
                  <a:pt x="117443" y="356616"/>
                  <a:pt x="181832" y="542163"/>
                  <a:pt x="289560" y="832771"/>
                </a:cubicBezTo>
                <a:cubicBezTo>
                  <a:pt x="393001" y="1116330"/>
                  <a:pt x="459010" y="1288256"/>
                  <a:pt x="573786" y="1564767"/>
                </a:cubicBezTo>
                <a:lnTo>
                  <a:pt x="594741" y="162001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81C374-F9AC-450E-B7EE-9C51B2BD1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1608111"/>
            <a:ext cx="9662369" cy="1434111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D7B49-65CA-5C2E-C772-175C776B59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6300E5-FA7A-660A-F2D0-382F2427288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C6DEB9-A9AA-31D9-5ED6-A8D6C9582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451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11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6268089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38" imgW="270" imgH="270" progId="TCLayout.ActiveDocument.1">
                  <p:embed/>
                </p:oleObj>
              </mc:Choice>
              <mc:Fallback>
                <p:oleObj name="think-cell Foli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  <p:custDataLst>
              <p:tags r:id="rId35"/>
            </p:custDataLst>
          </p:nvPr>
        </p:nvSpPr>
        <p:spPr bwMode="auto">
          <a:xfrm>
            <a:off x="376982" y="300465"/>
            <a:ext cx="966236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/>
              <a:t>Titel setzen wir in Georgia idealerweise in 27 Punkt.</a:t>
            </a:r>
            <a:br>
              <a:rPr lang="de-AT" noProof="0" dirty="0"/>
            </a:br>
            <a:r>
              <a:rPr lang="de-AT" noProof="0" dirty="0"/>
              <a:t>Bevorzugt in Verbund-Blau oder weiß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  <p:custDataLst>
              <p:tags r:id="rId36"/>
            </p:custDataLst>
          </p:nvPr>
        </p:nvSpPr>
        <p:spPr bwMode="auto">
          <a:xfrm>
            <a:off x="376981" y="1523586"/>
            <a:ext cx="9662369" cy="143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  <a:p>
            <a:pPr lvl="5"/>
            <a:r>
              <a:rPr lang="de-AT" noProof="0" dirty="0"/>
              <a:t>Sechs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  <p:custDataLst>
              <p:tags r:id="rId37"/>
            </p:custDataLst>
          </p:nvPr>
        </p:nvSpPr>
        <p:spPr bwMode="auto">
          <a:xfrm>
            <a:off x="11352448" y="6387351"/>
            <a:ext cx="46807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100000"/>
              </a:lnSpc>
              <a:defRPr sz="800">
                <a:solidFill>
                  <a:schemeClr val="tx2"/>
                </a:solidFill>
              </a:defRPr>
            </a:lvl1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AT" dirty="0"/>
              <a:t>Seite </a:t>
            </a:r>
            <a:fld id="{56C9A048-A28E-493E-A30E-F5A55EC874C9}" type="slidenum">
              <a:rPr lang="de-AT" smtClean="0"/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AT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D937C77B-A8D8-7787-FB3D-B8EE5F14B63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368815" y="6387351"/>
            <a:ext cx="4868216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4122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860" r:id="rId4"/>
    <p:sldLayoutId id="2147483866" r:id="rId5"/>
    <p:sldLayoutId id="2147483819" r:id="rId6"/>
    <p:sldLayoutId id="2147483703" r:id="rId7"/>
    <p:sldLayoutId id="2147483867" r:id="rId8"/>
    <p:sldLayoutId id="2147483868" r:id="rId9"/>
    <p:sldLayoutId id="2147483816" r:id="rId10"/>
    <p:sldLayoutId id="2147483845" r:id="rId11"/>
    <p:sldLayoutId id="2147483848" r:id="rId12"/>
    <p:sldLayoutId id="2147483865" r:id="rId13"/>
    <p:sldLayoutId id="2147483863" r:id="rId14"/>
    <p:sldLayoutId id="2147483864" r:id="rId15"/>
    <p:sldLayoutId id="2147483855" r:id="rId16"/>
    <p:sldLayoutId id="2147483862" r:id="rId17"/>
    <p:sldLayoutId id="2147483846" r:id="rId18"/>
    <p:sldLayoutId id="2147483850" r:id="rId19"/>
    <p:sldLayoutId id="2147483847" r:id="rId20"/>
    <p:sldLayoutId id="2147483849" r:id="rId21"/>
    <p:sldLayoutId id="2147483851" r:id="rId22"/>
    <p:sldLayoutId id="2147483852" r:id="rId23"/>
    <p:sldLayoutId id="2147483853" r:id="rId24"/>
    <p:sldLayoutId id="2147483854" r:id="rId25"/>
    <p:sldLayoutId id="2147483857" r:id="rId26"/>
    <p:sldLayoutId id="2147483858" r:id="rId27"/>
    <p:sldLayoutId id="2147483861" r:id="rId28"/>
    <p:sldLayoutId id="2147483812" r:id="rId29"/>
    <p:sldLayoutId id="2147483844" r:id="rId30"/>
    <p:sldLayoutId id="2147483813" r:id="rId3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2pPr>
      <a:lvl3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3pPr>
      <a:lvl4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4pPr>
      <a:lvl5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5pPr>
      <a:lvl6pPr marL="4572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6pPr>
      <a:lvl7pPr marL="9144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7pPr>
      <a:lvl8pPr marL="13716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8pPr>
      <a:lvl9pPr marL="18288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 typeface="Arial" pitchFamily="34" charset="0"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 typeface="Calibri" panose="020F0502020204030204" pitchFamily="34" charset="0"/>
        <a:buChar char="‒"/>
        <a:defRPr sz="1800">
          <a:solidFill>
            <a:schemeClr val="tx1"/>
          </a:solidFill>
          <a:latin typeface="+mn-lt"/>
          <a:ea typeface="+mn-ea"/>
        </a:defRPr>
      </a:lvl2pPr>
      <a:lvl3pPr marL="358775" indent="-1778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 typeface="Calibri" panose="020F0502020204030204" pitchFamily="34" charset="0"/>
        <a:buChar char="‒"/>
        <a:defRPr sz="1800">
          <a:solidFill>
            <a:schemeClr val="tx1"/>
          </a:solidFill>
          <a:latin typeface="+mn-lt"/>
          <a:ea typeface="+mn-ea"/>
        </a:defRPr>
      </a:lvl3pPr>
      <a:lvl4pPr marL="635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Tx/>
        <a:buNone/>
        <a:defRPr sz="1300">
          <a:solidFill>
            <a:schemeClr val="tx1"/>
          </a:solidFill>
          <a:latin typeface="+mn-lt"/>
          <a:ea typeface="+mn-ea"/>
        </a:defRPr>
      </a:lvl4pPr>
      <a:lvl5pPr marL="180975" indent="-17780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 typeface="Calibri" panose="020F0502020204030204" pitchFamily="34" charset="0"/>
        <a:buChar char="‒"/>
        <a:defRPr sz="1300">
          <a:solidFill>
            <a:schemeClr val="tx1"/>
          </a:solidFill>
          <a:latin typeface="+mn-lt"/>
          <a:ea typeface="+mn-ea"/>
        </a:defRPr>
      </a:lvl5pPr>
      <a:lvl6pPr marL="361950" indent="-180975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Calibri" panose="020F0502020204030204" pitchFamily="34" charset="0"/>
        <a:buChar char="‒"/>
        <a:defRPr sz="1300">
          <a:solidFill>
            <a:schemeClr val="tx1"/>
          </a:solidFill>
          <a:latin typeface="+mn-lt"/>
          <a:ea typeface="+mn-ea"/>
        </a:defRPr>
      </a:lvl6pPr>
      <a:lvl7pPr marL="162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0859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25431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59" userDrawn="1">
          <p15:clr>
            <a:srgbClr val="F26B43"/>
          </p15:clr>
        </p15:guide>
        <p15:guide id="16" pos="7446" userDrawn="1">
          <p15:clr>
            <a:srgbClr val="F26B43"/>
          </p15:clr>
        </p15:guide>
        <p15:guide id="18" orient="horz" pos="4201" userDrawn="1">
          <p15:clr>
            <a:srgbClr val="F26B43"/>
          </p15:clr>
        </p15:guide>
        <p15:guide id="20" pos="234" userDrawn="1">
          <p15:clr>
            <a:srgbClr val="F26B43"/>
          </p15:clr>
        </p15:guide>
        <p15:guide id="21" orient="horz" pos="232" userDrawn="1">
          <p15:clr>
            <a:srgbClr val="F26B43"/>
          </p15:clr>
        </p15:guide>
        <p15:guide id="22" pos="121" userDrawn="1">
          <p15:clr>
            <a:srgbClr val="F26B43"/>
          </p15:clr>
        </p15:guide>
        <p15:guide id="23" orient="horz" pos="119" userDrawn="1">
          <p15:clr>
            <a:srgbClr val="F26B43"/>
          </p15:clr>
        </p15:guide>
        <p15:guide id="24" orient="horz" pos="4088" userDrawn="1">
          <p15:clr>
            <a:srgbClr val="F26B43"/>
          </p15:clr>
        </p15:guide>
        <p15:guide id="25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8E921E5-AEB3-599A-0D78-667C1C94A4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506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4" imgW="381" imgH="381" progId="TCLayout.ActiveDocument.1">
                  <p:embed/>
                </p:oleObj>
              </mc:Choice>
              <mc:Fallback>
                <p:oleObj name="think-cell Foli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ADFCCF0C-8367-584F-DFE5-E92FC4907B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6981" y="920167"/>
            <a:ext cx="11120254" cy="5262979"/>
          </a:xfrm>
        </p:spPr>
        <p:txBody>
          <a:bodyPr/>
          <a:lstStyle/>
          <a:p>
            <a:r>
              <a:rPr lang="de-AT" dirty="0"/>
              <a:t>Vermarkten Sie ein Pumpspeicherkraftwerk mit folgenden Eigenschaften am Day-</a:t>
            </a:r>
            <a:r>
              <a:rPr lang="de-AT" dirty="0" err="1"/>
              <a:t>Ahead</a:t>
            </a:r>
            <a:r>
              <a:rPr lang="de-AT" dirty="0"/>
              <a:t> (Spot) Markt. </a:t>
            </a:r>
            <a:br>
              <a:rPr lang="de-AT" dirty="0"/>
            </a:br>
            <a:r>
              <a:rPr lang="de-AT" dirty="0"/>
              <a:t>Der Einfachheit halber wird nur ein Energiemodell betrachtet. Die unterschiedliche Fallhöhe je Pegelstand wird ignoriert und eine konstante Leistung angenommen.</a:t>
            </a:r>
          </a:p>
          <a:p>
            <a:endParaRPr lang="de-AT" dirty="0"/>
          </a:p>
          <a:p>
            <a:r>
              <a:rPr lang="de-AT" b="1" dirty="0"/>
              <a:t>Oberbecken:</a:t>
            </a:r>
          </a:p>
          <a:p>
            <a:r>
              <a:rPr lang="de-AT" dirty="0"/>
              <a:t>Der maximale Speicherinhalt des Oberbeckens beträgt 2 </a:t>
            </a:r>
            <a:r>
              <a:rPr lang="de-AT" dirty="0" err="1"/>
              <a:t>GWh</a:t>
            </a:r>
            <a:r>
              <a:rPr lang="de-AT" dirty="0"/>
              <a:t>. </a:t>
            </a:r>
          </a:p>
          <a:p>
            <a:r>
              <a:rPr lang="de-AT" dirty="0"/>
              <a:t>Der Füllstand des Oberbeckens zum Beginn der Vermarktung (t=1) ist 1,5 </a:t>
            </a:r>
            <a:r>
              <a:rPr lang="de-AT" dirty="0" err="1"/>
              <a:t>GWh</a:t>
            </a:r>
            <a:r>
              <a:rPr lang="de-AT" dirty="0"/>
              <a:t>.</a:t>
            </a:r>
          </a:p>
          <a:p>
            <a:r>
              <a:rPr lang="de-AT" dirty="0"/>
              <a:t>Das Oberbecken wird mit einem natürlichen Zufluss gespeist – dieser beträgt 10 MW/h.</a:t>
            </a:r>
          </a:p>
          <a:p>
            <a:r>
              <a:rPr lang="de-AT" dirty="0"/>
              <a:t>Am Ende des Rechenhorizonts soll der Speicherinhalt 1 </a:t>
            </a:r>
            <a:r>
              <a:rPr lang="de-AT" dirty="0" err="1"/>
              <a:t>GWh</a:t>
            </a:r>
            <a:r>
              <a:rPr lang="de-AT" dirty="0"/>
              <a:t> betragen.</a:t>
            </a:r>
          </a:p>
          <a:p>
            <a:endParaRPr lang="de-AT" dirty="0"/>
          </a:p>
          <a:p>
            <a:endParaRPr lang="de-AT" dirty="0"/>
          </a:p>
          <a:p>
            <a:r>
              <a:rPr lang="de-AT" b="1" dirty="0"/>
              <a:t>Unterbecken:</a:t>
            </a:r>
            <a:r>
              <a:rPr lang="de-AT" dirty="0"/>
              <a:t/>
            </a:r>
            <a:br>
              <a:rPr lang="de-AT" dirty="0"/>
            </a:br>
            <a:r>
              <a:rPr lang="de-AT" dirty="0"/>
              <a:t>Das Unterbecken wird unbeschränkt angenommen</a:t>
            </a:r>
          </a:p>
          <a:p>
            <a:endParaRPr lang="de-AT" dirty="0"/>
          </a:p>
          <a:p>
            <a:r>
              <a:rPr lang="de-AT" b="1" dirty="0"/>
              <a:t>Generator:</a:t>
            </a:r>
            <a:r>
              <a:rPr lang="de-AT" dirty="0"/>
              <a:t/>
            </a:r>
            <a:br>
              <a:rPr lang="de-AT" dirty="0"/>
            </a:br>
            <a:r>
              <a:rPr lang="de-AT" dirty="0"/>
              <a:t>Dir Turbine hat eine Leistung von 300 MW und einen Wirkungsgrad von 100%,</a:t>
            </a:r>
          </a:p>
          <a:p>
            <a:r>
              <a:rPr lang="de-AT" dirty="0"/>
              <a:t>Die Pumpe hat eine Leistung beträgt ebenso 300 MW, jedoch ist der Wirkungsgrad bei 75%.</a:t>
            </a:r>
          </a:p>
          <a:p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26A750-FD30-D06F-9E5A-5EBC06A009E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481B63-42DD-1E48-F4DB-501C33F91F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56C9A048-A28E-493E-A30E-F5A55EC874C9}" type="slidenum">
              <a:rPr lang="de-AT" smtClean="0"/>
              <a:pPr/>
              <a:t>1</a:t>
            </a:fld>
            <a:endParaRPr lang="de-AT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154AC43-53DF-32B1-0FAA-3821E36D6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82" y="300465"/>
            <a:ext cx="9662368" cy="415498"/>
          </a:xfrm>
        </p:spPr>
        <p:txBody>
          <a:bodyPr/>
          <a:lstStyle/>
          <a:p>
            <a:r>
              <a:rPr lang="de-AT" dirty="0"/>
              <a:t>Aufgabenstell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6083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IAAAAAAAAAAwAAAAMAAAAA/////wQA9wsAAAAAAAAAAAAAIAD///////////////8AAAD///////////////8DAAAAAwD///////8DAAAAAwD///////8DAAAAAwD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xCKnvQN74RMgcZ9ObRxcJcFAAAAAAADAAAAAwADAAAAAQADAAAAAwD///////8DAAAAAwD///////8DAAAAAwD///////8DAAAAAAD///////8DAAQA////////BAAAAAMAEAALVA0nBZ9wHEOlsziqCVNIBgUAAAABAAMAAAAAAAMAAAACAAMAAAAAAAMAAAAC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CKnvQN74RMgcZ9ObRxcJcDRGF0YQAbAAAABExpbmtlZFNoYXBlRGF0YQAFAAAAAAACTmFtZQAZAAAATGlua2VkU2hhcGVzRGF0YVByb3BlcnR5ABBWZXJzaW9uAAAAAAAJTGFzdFdyaXRlAOBlk9eAAQAAAAEA/////8YAxgAAAAVfaWQAEAAAAARUDScFn3AcQ6WzOKoJU0gGA0RhdGEAUwAAAAhQcmVzZW50YXRpb25TY2FubmVkRm9yTGlua2VkU2hhcGVzAAECTnVtYmVyRm9ybWF0U2VwYXJhdG9yTW9kZQAKAAAAQXV0b21hdGljAAACTmFtZQAkAAAATGlua2VkU2hhcGVQcmVzZW50YXRpb25TZXR0aW5nc0RhdGEAEFZlcnNpb24AAAAAAAlMYXN0V3JpdGUAGGaT14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XG3O5JQEixivAZ1kEP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.NjdGUp0SeYakMWQKP.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Qxs2Mp9EqunXv9LaBU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o97ZhRF60u1q7WmAY1w"/>
</p:tagLst>
</file>

<file path=ppt/theme/theme1.xml><?xml version="1.0" encoding="utf-8"?>
<a:theme xmlns:a="http://schemas.openxmlformats.org/drawingml/2006/main" name="VERBUND 2022">
  <a:themeElements>
    <a:clrScheme name="VERBUND 2022">
      <a:dk1>
        <a:srgbClr val="575756"/>
      </a:dk1>
      <a:lt1>
        <a:srgbClr val="FFFFFF"/>
      </a:lt1>
      <a:dk2>
        <a:srgbClr val="00488E"/>
      </a:dk2>
      <a:lt2>
        <a:srgbClr val="EDEDED"/>
      </a:lt2>
      <a:accent1>
        <a:srgbClr val="575757"/>
      </a:accent1>
      <a:accent2>
        <a:srgbClr val="999999"/>
      </a:accent2>
      <a:accent3>
        <a:srgbClr val="CCCCCC"/>
      </a:accent3>
      <a:accent4>
        <a:srgbClr val="575757"/>
      </a:accent4>
      <a:accent5>
        <a:srgbClr val="999999"/>
      </a:accent5>
      <a:accent6>
        <a:srgbClr val="00336A"/>
      </a:accent6>
      <a:hlink>
        <a:srgbClr val="575757"/>
      </a:hlink>
      <a:folHlink>
        <a:srgbClr val="999999"/>
      </a:folHlink>
    </a:clrScheme>
    <a:fontScheme name="VERBUND 2022">
      <a:majorFont>
        <a:latin typeface="Georgia"/>
        <a:ea typeface="MS PGothic"/>
        <a:cs typeface=""/>
      </a:majorFont>
      <a:minorFont>
        <a:latin typeface="Arial"/>
        <a:ea typeface="MS P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0000" tIns="180000" rIns="180000" bIns="180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solidFill>
          <a:srgbClr val="4AADBB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E62918D-C522-474F-8D02-0F358ECCC0BC}" vid="{0CAA109B-2B3D-49DC-8993-B15991462AE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  <wetp:taskpane dockstate="right" visibility="0" width="350" row="6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753DE02D-7BC3-4CED-AF66-D250010B539F}">
  <we:reference id="wa104379997" version="2.0.0.0" store="de-DE" storeType="OMEX"/>
  <we:alternateReferences>
    <we:reference id="WA104379997" version="2.0.0.0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3812D44A-F41F-4855-897C-ACA30C1BB2B2}">
  <we:reference id="wa104178141" version="3.10.0.19" store="de-DE" storeType="OMEX"/>
  <we:alternateReferences>
    <we:reference id="WA104178141" version="3.10.0.19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3</Words>
  <Application>Microsoft Office PowerPoint</Application>
  <PresentationFormat>Breitbild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Georgia</vt:lpstr>
      <vt:lpstr>VERBUND 2022</vt:lpstr>
      <vt:lpstr>think-cell Folie</vt:lpstr>
      <vt:lpstr>Aufgabenstellung</vt:lpstr>
    </vt:vector>
  </TitlesOfParts>
  <Company>VERBU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fgabenstellung</dc:title>
  <dc:creator>Pfleger Markus</dc:creator>
  <cp:lastModifiedBy>Pfleger Markus</cp:lastModifiedBy>
  <cp:revision>1</cp:revision>
  <cp:lastPrinted>2022-03-13T18:39:56Z</cp:lastPrinted>
  <dcterms:created xsi:type="dcterms:W3CDTF">2022-11-24T12:15:00Z</dcterms:created>
  <dcterms:modified xsi:type="dcterms:W3CDTF">2022-11-24T12:15:49Z</dcterms:modified>
</cp:coreProperties>
</file>